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08AB85-15BF-4EA6-B672-8CDC2479F459}" v="50" dt="2023-03-17T22:43:11.6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608AB85-15BF-4EA6-B672-8CDC2479F459}"/>
    <pc:docChg chg="custSel modSld">
      <pc:chgData name="Roberto Gallardo" userId="49a044883f185952" providerId="LiveId" clId="{2608AB85-15BF-4EA6-B672-8CDC2479F459}" dt="2023-03-17T22:43:23.332" v="214" actId="1076"/>
      <pc:docMkLst>
        <pc:docMk/>
      </pc:docMkLst>
      <pc:sldChg chg="modSp mod">
        <pc:chgData name="Roberto Gallardo" userId="49a044883f185952" providerId="LiveId" clId="{2608AB85-15BF-4EA6-B672-8CDC2479F459}" dt="2023-03-17T21:57:22.256" v="8" actId="20577"/>
        <pc:sldMkLst>
          <pc:docMk/>
          <pc:sldMk cId="2846901679" sldId="256"/>
        </pc:sldMkLst>
        <pc:spChg chg="mod">
          <ac:chgData name="Roberto Gallardo" userId="49a044883f185952" providerId="LiveId" clId="{2608AB85-15BF-4EA6-B672-8CDC2479F459}" dt="2023-03-17T21:57:22.256" v="8" actId="20577"/>
          <ac:spMkLst>
            <pc:docMk/>
            <pc:sldMk cId="2846901679" sldId="256"/>
            <ac:spMk id="7" creationId="{B1E0ABEC-554C-720A-2772-F0324C8E93CA}"/>
          </ac:spMkLst>
        </pc:spChg>
      </pc:sldChg>
      <pc:sldChg chg="addSp modSp mod">
        <pc:chgData name="Roberto Gallardo" userId="49a044883f185952" providerId="LiveId" clId="{2608AB85-15BF-4EA6-B672-8CDC2479F459}" dt="2023-03-17T22:38:04.184" v="15" actId="1076"/>
        <pc:sldMkLst>
          <pc:docMk/>
          <pc:sldMk cId="1418533539" sldId="271"/>
        </pc:sldMkLst>
        <pc:picChg chg="add mod">
          <ac:chgData name="Roberto Gallardo" userId="49a044883f185952" providerId="LiveId" clId="{2608AB85-15BF-4EA6-B672-8CDC2479F459}" dt="2023-03-17T22:38:04.184" v="15" actId="1076"/>
          <ac:picMkLst>
            <pc:docMk/>
            <pc:sldMk cId="1418533539" sldId="271"/>
            <ac:picMk id="6" creationId="{A3A8E5C9-3992-835E-804F-10F43A8E2690}"/>
          </ac:picMkLst>
        </pc:picChg>
      </pc:sldChg>
      <pc:sldChg chg="addSp modSp mod">
        <pc:chgData name="Roberto Gallardo" userId="49a044883f185952" providerId="LiveId" clId="{2608AB85-15BF-4EA6-B672-8CDC2479F459}" dt="2023-03-17T22:40:06.396" v="87" actId="1076"/>
        <pc:sldMkLst>
          <pc:docMk/>
          <pc:sldMk cId="2124848710" sldId="281"/>
        </pc:sldMkLst>
        <pc:picChg chg="add mod">
          <ac:chgData name="Roberto Gallardo" userId="49a044883f185952" providerId="LiveId" clId="{2608AB85-15BF-4EA6-B672-8CDC2479F459}" dt="2023-03-17T22:40:06.396" v="87" actId="1076"/>
          <ac:picMkLst>
            <pc:docMk/>
            <pc:sldMk cId="2124848710" sldId="281"/>
            <ac:picMk id="6" creationId="{A27B9318-273D-81A1-B175-C102655ED2C4}"/>
          </ac:picMkLst>
        </pc:picChg>
      </pc:sldChg>
      <pc:sldChg chg="addSp modSp mod">
        <pc:chgData name="Roberto Gallardo" userId="49a044883f185952" providerId="LiveId" clId="{2608AB85-15BF-4EA6-B672-8CDC2479F459}" dt="2023-03-17T22:40:21.605" v="97" actId="1076"/>
        <pc:sldMkLst>
          <pc:docMk/>
          <pc:sldMk cId="2028175529" sldId="282"/>
        </pc:sldMkLst>
        <pc:picChg chg="add mod">
          <ac:chgData name="Roberto Gallardo" userId="49a044883f185952" providerId="LiveId" clId="{2608AB85-15BF-4EA6-B672-8CDC2479F459}" dt="2023-03-17T22:40:21.605" v="97" actId="1076"/>
          <ac:picMkLst>
            <pc:docMk/>
            <pc:sldMk cId="2028175529" sldId="282"/>
            <ac:picMk id="7" creationId="{417FDC64-DEAD-BF1D-0606-FE13D53CB3A6}"/>
          </ac:picMkLst>
        </pc:picChg>
      </pc:sldChg>
      <pc:sldChg chg="addSp modSp mod">
        <pc:chgData name="Roberto Gallardo" userId="49a044883f185952" providerId="LiveId" clId="{2608AB85-15BF-4EA6-B672-8CDC2479F459}" dt="2023-03-17T22:40:37.972" v="108" actId="1076"/>
        <pc:sldMkLst>
          <pc:docMk/>
          <pc:sldMk cId="1326517747" sldId="283"/>
        </pc:sldMkLst>
        <pc:picChg chg="add mod">
          <ac:chgData name="Roberto Gallardo" userId="49a044883f185952" providerId="LiveId" clId="{2608AB85-15BF-4EA6-B672-8CDC2479F459}" dt="2023-03-17T22:40:37.972" v="108" actId="1076"/>
          <ac:picMkLst>
            <pc:docMk/>
            <pc:sldMk cId="1326517747" sldId="283"/>
            <ac:picMk id="7" creationId="{DBAFD312-71D4-26DA-DF5F-9DF30D0C41EF}"/>
          </ac:picMkLst>
        </pc:picChg>
      </pc:sldChg>
      <pc:sldChg chg="addSp modSp mod">
        <pc:chgData name="Roberto Gallardo" userId="49a044883f185952" providerId="LiveId" clId="{2608AB85-15BF-4EA6-B672-8CDC2479F459}" dt="2023-03-17T22:40:51.409" v="118" actId="1076"/>
        <pc:sldMkLst>
          <pc:docMk/>
          <pc:sldMk cId="783739251" sldId="284"/>
        </pc:sldMkLst>
        <pc:picChg chg="add mod">
          <ac:chgData name="Roberto Gallardo" userId="49a044883f185952" providerId="LiveId" clId="{2608AB85-15BF-4EA6-B672-8CDC2479F459}" dt="2023-03-17T22:40:51.409" v="118" actId="1076"/>
          <ac:picMkLst>
            <pc:docMk/>
            <pc:sldMk cId="783739251" sldId="284"/>
            <ac:picMk id="7" creationId="{62B4E61D-3E0B-393F-26A7-548D7A1B4F12}"/>
          </ac:picMkLst>
        </pc:picChg>
      </pc:sldChg>
      <pc:sldChg chg="addSp modSp mod">
        <pc:chgData name="Roberto Gallardo" userId="49a044883f185952" providerId="LiveId" clId="{2608AB85-15BF-4EA6-B672-8CDC2479F459}" dt="2023-03-17T22:41:11.072" v="127" actId="1076"/>
        <pc:sldMkLst>
          <pc:docMk/>
          <pc:sldMk cId="1676122233" sldId="285"/>
        </pc:sldMkLst>
        <pc:picChg chg="add mod">
          <ac:chgData name="Roberto Gallardo" userId="49a044883f185952" providerId="LiveId" clId="{2608AB85-15BF-4EA6-B672-8CDC2479F459}" dt="2023-03-17T22:41:11.072" v="127" actId="1076"/>
          <ac:picMkLst>
            <pc:docMk/>
            <pc:sldMk cId="1676122233" sldId="285"/>
            <ac:picMk id="7" creationId="{77888DDC-9B94-1AEE-6495-A2ABD4489A58}"/>
          </ac:picMkLst>
        </pc:picChg>
      </pc:sldChg>
      <pc:sldChg chg="addSp modSp mod">
        <pc:chgData name="Roberto Gallardo" userId="49a044883f185952" providerId="LiveId" clId="{2608AB85-15BF-4EA6-B672-8CDC2479F459}" dt="2023-03-17T22:41:27.216" v="139" actId="1076"/>
        <pc:sldMkLst>
          <pc:docMk/>
          <pc:sldMk cId="3100398757" sldId="286"/>
        </pc:sldMkLst>
        <pc:picChg chg="add mod">
          <ac:chgData name="Roberto Gallardo" userId="49a044883f185952" providerId="LiveId" clId="{2608AB85-15BF-4EA6-B672-8CDC2479F459}" dt="2023-03-17T22:41:27.216" v="139" actId="1076"/>
          <ac:picMkLst>
            <pc:docMk/>
            <pc:sldMk cId="3100398757" sldId="286"/>
            <ac:picMk id="7" creationId="{20D98B73-2C62-A0B0-27FD-AB08924B6667}"/>
          </ac:picMkLst>
        </pc:picChg>
      </pc:sldChg>
      <pc:sldChg chg="addSp modSp mod">
        <pc:chgData name="Roberto Gallardo" userId="49a044883f185952" providerId="LiveId" clId="{2608AB85-15BF-4EA6-B672-8CDC2479F459}" dt="2023-03-17T22:41:43.298" v="149" actId="1076"/>
        <pc:sldMkLst>
          <pc:docMk/>
          <pc:sldMk cId="1546475425" sldId="287"/>
        </pc:sldMkLst>
        <pc:picChg chg="add mod">
          <ac:chgData name="Roberto Gallardo" userId="49a044883f185952" providerId="LiveId" clId="{2608AB85-15BF-4EA6-B672-8CDC2479F459}" dt="2023-03-17T22:41:43.298" v="149" actId="1076"/>
          <ac:picMkLst>
            <pc:docMk/>
            <pc:sldMk cId="1546475425" sldId="287"/>
            <ac:picMk id="7" creationId="{653EED72-ED22-FB14-B9B8-2A2B8FC4B500}"/>
          </ac:picMkLst>
        </pc:picChg>
      </pc:sldChg>
      <pc:sldChg chg="addSp modSp mod">
        <pc:chgData name="Roberto Gallardo" userId="49a044883f185952" providerId="LiveId" clId="{2608AB85-15BF-4EA6-B672-8CDC2479F459}" dt="2023-03-17T22:42:16.224" v="171" actId="1076"/>
        <pc:sldMkLst>
          <pc:docMk/>
          <pc:sldMk cId="1380517306" sldId="288"/>
        </pc:sldMkLst>
        <pc:picChg chg="add mod">
          <ac:chgData name="Roberto Gallardo" userId="49a044883f185952" providerId="LiveId" clId="{2608AB85-15BF-4EA6-B672-8CDC2479F459}" dt="2023-03-17T22:42:16.224" v="171" actId="1076"/>
          <ac:picMkLst>
            <pc:docMk/>
            <pc:sldMk cId="1380517306" sldId="288"/>
            <ac:picMk id="7" creationId="{20DF93D3-874E-B7CA-A954-EAD3BAB65D6D}"/>
          </ac:picMkLst>
        </pc:picChg>
      </pc:sldChg>
      <pc:sldChg chg="addSp modSp mod">
        <pc:chgData name="Roberto Gallardo" userId="49a044883f185952" providerId="LiveId" clId="{2608AB85-15BF-4EA6-B672-8CDC2479F459}" dt="2023-03-17T22:42:31.901" v="182" actId="1076"/>
        <pc:sldMkLst>
          <pc:docMk/>
          <pc:sldMk cId="1388671151" sldId="289"/>
        </pc:sldMkLst>
        <pc:picChg chg="add mod">
          <ac:chgData name="Roberto Gallardo" userId="49a044883f185952" providerId="LiveId" clId="{2608AB85-15BF-4EA6-B672-8CDC2479F459}" dt="2023-03-17T22:42:31.901" v="182" actId="1076"/>
          <ac:picMkLst>
            <pc:docMk/>
            <pc:sldMk cId="1388671151" sldId="289"/>
            <ac:picMk id="7" creationId="{DAD70419-C49C-46A2-0675-197BC11A8341}"/>
          </ac:picMkLst>
        </pc:picChg>
      </pc:sldChg>
      <pc:sldChg chg="addSp modSp mod">
        <pc:chgData name="Roberto Gallardo" userId="49a044883f185952" providerId="LiveId" clId="{2608AB85-15BF-4EA6-B672-8CDC2479F459}" dt="2023-03-17T22:43:05.597" v="204" actId="1076"/>
        <pc:sldMkLst>
          <pc:docMk/>
          <pc:sldMk cId="2355376039" sldId="290"/>
        </pc:sldMkLst>
        <pc:picChg chg="add mod">
          <ac:chgData name="Roberto Gallardo" userId="49a044883f185952" providerId="LiveId" clId="{2608AB85-15BF-4EA6-B672-8CDC2479F459}" dt="2023-03-17T22:43:05.597" v="204" actId="1076"/>
          <ac:picMkLst>
            <pc:docMk/>
            <pc:sldMk cId="2355376039" sldId="290"/>
            <ac:picMk id="8" creationId="{C3722CF0-2826-3C7E-4DAA-D68A95F2FE64}"/>
          </ac:picMkLst>
        </pc:picChg>
      </pc:sldChg>
      <pc:sldChg chg="addSp modSp mod">
        <pc:chgData name="Roberto Gallardo" userId="49a044883f185952" providerId="LiveId" clId="{2608AB85-15BF-4EA6-B672-8CDC2479F459}" dt="2023-03-17T22:43:23.332" v="214" actId="1076"/>
        <pc:sldMkLst>
          <pc:docMk/>
          <pc:sldMk cId="3757257295" sldId="291"/>
        </pc:sldMkLst>
        <pc:picChg chg="add mod">
          <ac:chgData name="Roberto Gallardo" userId="49a044883f185952" providerId="LiveId" clId="{2608AB85-15BF-4EA6-B672-8CDC2479F459}" dt="2023-03-17T22:43:23.332" v="214" actId="1076"/>
          <ac:picMkLst>
            <pc:docMk/>
            <pc:sldMk cId="3757257295" sldId="291"/>
            <ac:picMk id="8" creationId="{26A41088-692A-F0BB-6503-CBABACDC48B4}"/>
          </ac:picMkLst>
        </pc:picChg>
      </pc:sldChg>
      <pc:sldChg chg="addSp modSp mod">
        <pc:chgData name="Roberto Gallardo" userId="49a044883f185952" providerId="LiveId" clId="{2608AB85-15BF-4EA6-B672-8CDC2479F459}" dt="2023-03-17T22:41:58.347" v="160" actId="1076"/>
        <pc:sldMkLst>
          <pc:docMk/>
          <pc:sldMk cId="1259856727" sldId="292"/>
        </pc:sldMkLst>
        <pc:picChg chg="add mod">
          <ac:chgData name="Roberto Gallardo" userId="49a044883f185952" providerId="LiveId" clId="{2608AB85-15BF-4EA6-B672-8CDC2479F459}" dt="2023-03-17T22:41:58.347" v="160" actId="1076"/>
          <ac:picMkLst>
            <pc:docMk/>
            <pc:sldMk cId="1259856727" sldId="292"/>
            <ac:picMk id="7" creationId="{F5568EFD-B16D-1690-11E7-B14716AF613F}"/>
          </ac:picMkLst>
        </pc:picChg>
      </pc:sldChg>
      <pc:sldChg chg="addSp modSp mod">
        <pc:chgData name="Roberto Gallardo" userId="49a044883f185952" providerId="LiveId" clId="{2608AB85-15BF-4EA6-B672-8CDC2479F459}" dt="2023-03-17T22:39:49.854" v="76" actId="1076"/>
        <pc:sldMkLst>
          <pc:docMk/>
          <pc:sldMk cId="3324519687" sldId="293"/>
        </pc:sldMkLst>
        <pc:picChg chg="add mod">
          <ac:chgData name="Roberto Gallardo" userId="49a044883f185952" providerId="LiveId" clId="{2608AB85-15BF-4EA6-B672-8CDC2479F459}" dt="2023-03-17T22:39:49.854" v="76" actId="1076"/>
          <ac:picMkLst>
            <pc:docMk/>
            <pc:sldMk cId="3324519687" sldId="293"/>
            <ac:picMk id="7" creationId="{2EF4EDB9-3208-ABF2-DA1D-9981C9394866}"/>
          </ac:picMkLst>
        </pc:picChg>
      </pc:sldChg>
      <pc:sldChg chg="addSp modSp mod">
        <pc:chgData name="Roberto Gallardo" userId="49a044883f185952" providerId="LiveId" clId="{2608AB85-15BF-4EA6-B672-8CDC2479F459}" dt="2023-03-17T22:39:08.877" v="50" actId="1076"/>
        <pc:sldMkLst>
          <pc:docMk/>
          <pc:sldMk cId="3256182630" sldId="295"/>
        </pc:sldMkLst>
        <pc:picChg chg="add mod">
          <ac:chgData name="Roberto Gallardo" userId="49a044883f185952" providerId="LiveId" clId="{2608AB85-15BF-4EA6-B672-8CDC2479F459}" dt="2023-03-17T22:39:08.877" v="50" actId="1076"/>
          <ac:picMkLst>
            <pc:docMk/>
            <pc:sldMk cId="3256182630" sldId="295"/>
            <ac:picMk id="7" creationId="{24140C69-1B86-D56A-820B-682ED82DE2CB}"/>
          </ac:picMkLst>
        </pc:picChg>
      </pc:sldChg>
      <pc:sldChg chg="addSp delSp modSp mod">
        <pc:chgData name="Roberto Gallardo" userId="49a044883f185952" providerId="LiveId" clId="{2608AB85-15BF-4EA6-B672-8CDC2479F459}" dt="2023-03-17T22:39:28.973" v="61" actId="1076"/>
        <pc:sldMkLst>
          <pc:docMk/>
          <pc:sldMk cId="4057156843" sldId="296"/>
        </pc:sldMkLst>
        <pc:picChg chg="add del mod">
          <ac:chgData name="Roberto Gallardo" userId="49a044883f185952" providerId="LiveId" clId="{2608AB85-15BF-4EA6-B672-8CDC2479F459}" dt="2023-03-17T22:39:17.339" v="54" actId="478"/>
          <ac:picMkLst>
            <pc:docMk/>
            <pc:sldMk cId="4057156843" sldId="296"/>
            <ac:picMk id="7" creationId="{4633B6EF-8B4E-E512-F89C-5D438196E58B}"/>
          </ac:picMkLst>
        </pc:picChg>
        <pc:picChg chg="add mod">
          <ac:chgData name="Roberto Gallardo" userId="49a044883f185952" providerId="LiveId" clId="{2608AB85-15BF-4EA6-B672-8CDC2479F459}" dt="2023-03-17T22:39:28.973" v="61" actId="1076"/>
          <ac:picMkLst>
            <pc:docMk/>
            <pc:sldMk cId="4057156843" sldId="296"/>
            <ac:picMk id="9" creationId="{38C1E9F4-BDAE-2990-9E2C-BF5A4B060BAF}"/>
          </ac:picMkLst>
        </pc:picChg>
      </pc:sldChg>
      <pc:sldChg chg="addSp modSp mod">
        <pc:chgData name="Roberto Gallardo" userId="49a044883f185952" providerId="LiveId" clId="{2608AB85-15BF-4EA6-B672-8CDC2479F459}" dt="2023-03-17T22:38:40.744" v="32" actId="1076"/>
        <pc:sldMkLst>
          <pc:docMk/>
          <pc:sldMk cId="2080110827" sldId="297"/>
        </pc:sldMkLst>
        <pc:picChg chg="add mod">
          <ac:chgData name="Roberto Gallardo" userId="49a044883f185952" providerId="LiveId" clId="{2608AB85-15BF-4EA6-B672-8CDC2479F459}" dt="2023-03-17T22:38:40.744" v="32" actId="1076"/>
          <ac:picMkLst>
            <pc:docMk/>
            <pc:sldMk cId="2080110827" sldId="297"/>
            <ac:picMk id="6" creationId="{ECD93826-0300-ED89-7E26-718918BDFDBD}"/>
          </ac:picMkLst>
        </pc:picChg>
      </pc:sldChg>
      <pc:sldChg chg="addSp modSp mod">
        <pc:chgData name="Roberto Gallardo" userId="49a044883f185952" providerId="LiveId" clId="{2608AB85-15BF-4EA6-B672-8CDC2479F459}" dt="2023-03-17T22:38:19.642" v="22" actId="1076"/>
        <pc:sldMkLst>
          <pc:docMk/>
          <pc:sldMk cId="1532666867" sldId="298"/>
        </pc:sldMkLst>
        <pc:picChg chg="add mod">
          <ac:chgData name="Roberto Gallardo" userId="49a044883f185952" providerId="LiveId" clId="{2608AB85-15BF-4EA6-B672-8CDC2479F459}" dt="2023-03-17T22:38:19.642" v="22" actId="1076"/>
          <ac:picMkLst>
            <pc:docMk/>
            <pc:sldMk cId="1532666867" sldId="298"/>
            <ac:picMk id="6" creationId="{AA0BB5EA-3B10-9641-5E2B-D33C7016358E}"/>
          </ac:picMkLst>
        </pc:picChg>
      </pc:sldChg>
      <pc:sldChg chg="addSp modSp mod">
        <pc:chgData name="Roberto Gallardo" userId="49a044883f185952" providerId="LiveId" clId="{2608AB85-15BF-4EA6-B672-8CDC2479F459}" dt="2023-03-17T22:42:50.821" v="194" actId="1076"/>
        <pc:sldMkLst>
          <pc:docMk/>
          <pc:sldMk cId="1951376777" sldId="299"/>
        </pc:sldMkLst>
        <pc:picChg chg="add mod">
          <ac:chgData name="Roberto Gallardo" userId="49a044883f185952" providerId="LiveId" clId="{2608AB85-15BF-4EA6-B672-8CDC2479F459}" dt="2023-03-17T22:42:50.821" v="194" actId="1076"/>
          <ac:picMkLst>
            <pc:docMk/>
            <pc:sldMk cId="1951376777" sldId="299"/>
            <ac:picMk id="7" creationId="{9C9DD622-2D18-35D6-CEEE-C30553BBBEC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Halifax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330E604-6054-3407-40DF-31153011295B}"/>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E7FFCF07-241F-52F3-F072-96B37C5330BC}"/>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3A8E5C9-3992-835E-804F-10F43A8E26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A0BB5EA-3B10-9641-5E2B-D33C701635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CD93826-0300-ED89-7E26-718918BDFD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02711E4-5770-3F0A-DE88-145DC03EDA02}"/>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4140C69-1B86-D56A-820B-682ED82DE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525C912-C790-91C8-6F17-88FB562B3AED}"/>
              </a:ext>
            </a:extLst>
          </p:cNvPr>
          <p:cNvPicPr/>
          <p:nvPr/>
        </p:nvPicPr>
        <p:blipFill>
          <a:blip r:embed="rId2"/>
          <a:stretch>
            <a:fillRect/>
          </a:stretch>
        </p:blipFill>
        <p:spPr>
          <a:xfrm>
            <a:off x="152399" y="1798955"/>
            <a:ext cx="5308853" cy="3800656"/>
          </a:xfrm>
          <a:prstGeom prst="rect">
            <a:avLst/>
          </a:prstGeom>
        </p:spPr>
      </p:pic>
      <p:pic>
        <p:nvPicPr>
          <p:cNvPr id="9" name="Picture 8" descr="Map&#10;&#10;Description automatically generated">
            <a:extLst>
              <a:ext uri="{FF2B5EF4-FFF2-40B4-BE49-F238E27FC236}">
                <a16:creationId xmlns:a16="http://schemas.microsoft.com/office/drawing/2014/main" id="{38C1E9F4-BDAE-2990-9E2C-BF5A4B060B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51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E234CFF-B5D2-CA7B-E675-1D6DFD9DF27C}"/>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2EF4EDB9-3208-ABF2-DA1D-9981C93948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B998969-008B-D3E4-D622-B914A31D54D8}"/>
              </a:ext>
            </a:extLst>
          </p:cNvPr>
          <p:cNvPicPr/>
          <p:nvPr/>
        </p:nvPicPr>
        <p:blipFill>
          <a:blip r:embed="rId2"/>
          <a:stretch>
            <a:fillRect/>
          </a:stretch>
        </p:blipFill>
        <p:spPr>
          <a:xfrm>
            <a:off x="152400" y="1783080"/>
            <a:ext cx="5297356" cy="3799114"/>
          </a:xfrm>
          <a:prstGeom prst="rect">
            <a:avLst/>
          </a:prstGeom>
        </p:spPr>
      </p:pic>
      <p:pic>
        <p:nvPicPr>
          <p:cNvPr id="6" name="Picture 5" descr="Diagram, map&#10;&#10;Description automatically generated">
            <a:extLst>
              <a:ext uri="{FF2B5EF4-FFF2-40B4-BE49-F238E27FC236}">
                <a16:creationId xmlns:a16="http://schemas.microsoft.com/office/drawing/2014/main" id="{A27B9318-273D-81A1-B175-C102655ED2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8C2698A-0DCC-434A-D20E-F69E852FD239}"/>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417FDC64-DEAD-BF1D-0606-FE13D53CB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205579A-5F89-1B55-A23D-252AF239FB34}"/>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BAFD312-71D4-26DA-DF5F-9DF30D0C41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AD1E75A-367B-CCBE-043D-287EDF1364D7}"/>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62B4E61D-3E0B-393F-26A7-548D7A1B4F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02BB924-8D2B-7D01-CF94-727EDD33843A}"/>
              </a:ext>
            </a:extLst>
          </p:cNvPr>
          <p:cNvPicPr/>
          <p:nvPr/>
        </p:nvPicPr>
        <p:blipFill>
          <a:blip r:embed="rId2"/>
          <a:stretch>
            <a:fillRect/>
          </a:stretch>
        </p:blipFill>
        <p:spPr>
          <a:xfrm>
            <a:off x="159053" y="1774372"/>
            <a:ext cx="5289247" cy="3790406"/>
          </a:xfrm>
          <a:prstGeom prst="rect">
            <a:avLst/>
          </a:prstGeom>
        </p:spPr>
      </p:pic>
      <p:pic>
        <p:nvPicPr>
          <p:cNvPr id="7" name="Picture 6" descr="Diagram, map&#10;&#10;Description automatically generated">
            <a:extLst>
              <a:ext uri="{FF2B5EF4-FFF2-40B4-BE49-F238E27FC236}">
                <a16:creationId xmlns:a16="http://schemas.microsoft.com/office/drawing/2014/main" id="{77888DDC-9B94-1AEE-6495-A2ABD4489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2" y="1408318"/>
            <a:ext cx="6394148" cy="452166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94F86DC-D4DA-A8FF-A735-FA2276AE09DD}"/>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20D98B73-2C62-A0B0-27FD-AB08924B66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935" y="1411683"/>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BD5D5AB-7876-0C63-1C3B-48B38FF5B1F5}"/>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653EED72-ED22-FB14-B9B8-2A2B8FC4B5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8BC95F6-BB87-0602-96E4-38185CB232F0}"/>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F5568EFD-B16D-1690-11E7-B14716AF6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A9BD790-E151-1C73-390C-E7010438CAE3}"/>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20DF93D3-874E-B7CA-A954-EAD3BAB65D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029DCC7-FB10-03FD-D01E-AA5EFD5A5F8D}"/>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AD70419-C49C-46A2-0675-197BC11A83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BDBE6C7F-5A53-DDDF-5B65-5AF13A42A9A2}"/>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9C9DD622-2D18-35D6-CEEE-C30553BBBE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787"/>
            <a:ext cx="6408928" cy="453212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10C8CF2-75E0-194F-B768-AE24AA98817E}"/>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C3722CF0-2826-3C7E-4DAA-D68A95F2FE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1892A18-AA9A-33B1-CD41-C41A9AF87D5F}"/>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D25E2F28-2F07-6BBF-D88E-3685FAC246FA}"/>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26A41088-692A-F0BB-6503-CBABACDC48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3690" y="1417640"/>
            <a:ext cx="6385910" cy="451584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323AA14F-4C9E-2E40-2ED8-F2F06BFE0FA9}"/>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AAF4392-D83D-C563-3EAE-541EBB122E45}"/>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AC4C998-6912-517D-FD34-CF8A49664F9A}"/>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778201"/>
            <a:ext cx="1198148" cy="2088553"/>
            <a:chOff x="10485745" y="2134493"/>
            <a:chExt cx="1198148" cy="208855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7265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13449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134493"/>
              <a:ext cx="0" cy="59201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619061"/>
              <a:ext cx="0" cy="60398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472978"/>
            <a:ext cx="1198148" cy="2358688"/>
            <a:chOff x="2775759" y="2186119"/>
            <a:chExt cx="1198148" cy="235868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033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8611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86119"/>
              <a:ext cx="0" cy="7172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95949"/>
              <a:ext cx="0" cy="7488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897C6397-7ABD-75F7-37AE-B233181C3A7F}"/>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5D4D7BE2-5C9D-9F24-073E-9382D3B3E5B6}"/>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9129B21-A4B8-405A-97C0-7C90B91F1D25}"/>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F24A3E1-9B71-44A8-0868-B20B8ECE2D4F}"/>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4280B73-AF88-913E-2F55-A04FFE2FD46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D2EED56-ACB8-85C6-C825-E4E42B5047E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5CF2600-15EC-0E28-AC0B-D14C86E98C37}"/>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9275011-6547-2FDF-471D-985521324D9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0</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5</cp:revision>
  <dcterms:created xsi:type="dcterms:W3CDTF">2022-07-04T13:32:28Z</dcterms:created>
  <dcterms:modified xsi:type="dcterms:W3CDTF">2023-03-17T22:43:23Z</dcterms:modified>
</cp:coreProperties>
</file>